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060" r:id="rId1"/>
    <p:sldMasterId id="2147484069" r:id="rId2"/>
    <p:sldMasterId id="2147484366" r:id="rId3"/>
  </p:sldMasterIdLst>
  <p:notesMasterIdLst>
    <p:notesMasterId r:id="rId5"/>
  </p:notesMasterIdLst>
  <p:handoutMasterIdLst>
    <p:handoutMasterId r:id="rId6"/>
  </p:handoutMasterIdLst>
  <p:sldIdLst>
    <p:sldId id="686" r:id="rId4"/>
  </p:sldIdLst>
  <p:sldSz cx="9144000" cy="6858000" type="screen4x3"/>
  <p:notesSz cx="6724650" cy="9874250"/>
  <p:defaultTextStyle>
    <a:defPPr>
      <a:defRPr lang="de-CH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32">
          <p15:clr>
            <a:srgbClr val="A4A3A4"/>
          </p15:clr>
        </p15:guide>
        <p15:guide id="2" pos="2880">
          <p15:clr>
            <a:srgbClr val="A4A3A4"/>
          </p15:clr>
        </p15:guide>
        <p15:guide id="3" pos="3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4B00"/>
    <a:srgbClr val="FF0000"/>
    <a:srgbClr val="FF00FF"/>
    <a:srgbClr val="009900"/>
    <a:srgbClr val="33CC33"/>
    <a:srgbClr val="00FF00"/>
    <a:srgbClr val="969696"/>
    <a:srgbClr val="006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370" autoAdjust="0"/>
    <p:restoredTop sz="94621" autoAdjust="0"/>
  </p:normalViewPr>
  <p:slideViewPr>
    <p:cSldViewPr>
      <p:cViewPr varScale="1">
        <p:scale>
          <a:sx n="114" d="100"/>
          <a:sy n="114" d="100"/>
        </p:scale>
        <p:origin x="930" y="102"/>
      </p:cViewPr>
      <p:guideLst>
        <p:guide orient="horz" pos="2432"/>
        <p:guide pos="2880"/>
        <p:guide pos="3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13063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98075" tIns="49038" rIns="98075" bIns="49038" numCol="1" anchor="t" anchorCtr="0" compatLnSpc="1">
            <a:prstTxWarp prst="textNoShape">
              <a:avLst/>
            </a:prstTxWarp>
          </a:bodyPr>
          <a:lstStyle>
            <a:lvl1pPr defTabSz="979488" eaLnBrk="1" hangingPunct="1">
              <a:defRPr sz="1300">
                <a:latin typeface="Arial" charset="0"/>
              </a:defRPr>
            </a:lvl1pPr>
          </a:lstStyle>
          <a:p>
            <a:pPr>
              <a:defRPr/>
            </a:pPr>
            <a:endParaRPr lang="en-US" altLang="fr-FR"/>
          </a:p>
        </p:txBody>
      </p:sp>
      <p:sp>
        <p:nvSpPr>
          <p:cNvPr id="4096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10000" y="0"/>
            <a:ext cx="2913063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98075" tIns="49038" rIns="98075" bIns="49038" numCol="1" anchor="t" anchorCtr="0" compatLnSpc="1">
            <a:prstTxWarp prst="textNoShape">
              <a:avLst/>
            </a:prstTxWarp>
          </a:bodyPr>
          <a:lstStyle>
            <a:lvl1pPr algn="r" defTabSz="979488" eaLnBrk="1" hangingPunct="1">
              <a:defRPr sz="1300">
                <a:latin typeface="Arial" charset="0"/>
              </a:defRPr>
            </a:lvl1pPr>
          </a:lstStyle>
          <a:p>
            <a:pPr>
              <a:defRPr/>
            </a:pPr>
            <a:endParaRPr lang="en-US" altLang="fr-FR"/>
          </a:p>
        </p:txBody>
      </p:sp>
      <p:sp>
        <p:nvSpPr>
          <p:cNvPr id="4096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77363"/>
            <a:ext cx="2913063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98075" tIns="49038" rIns="98075" bIns="49038" numCol="1" anchor="b" anchorCtr="0" compatLnSpc="1">
            <a:prstTxWarp prst="textNoShape">
              <a:avLst/>
            </a:prstTxWarp>
          </a:bodyPr>
          <a:lstStyle>
            <a:lvl1pPr defTabSz="979488" eaLnBrk="1" hangingPunct="1">
              <a:defRPr sz="1300">
                <a:latin typeface="Arial" charset="0"/>
              </a:defRPr>
            </a:lvl1pPr>
          </a:lstStyle>
          <a:p>
            <a:pPr>
              <a:defRPr/>
            </a:pPr>
            <a:endParaRPr lang="en-US" altLang="fr-FR"/>
          </a:p>
        </p:txBody>
      </p:sp>
      <p:sp>
        <p:nvSpPr>
          <p:cNvPr id="4096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10000" y="9377363"/>
            <a:ext cx="2913063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98075" tIns="49038" rIns="98075" bIns="49038" numCol="1" anchor="b" anchorCtr="0" compatLnSpc="1">
            <a:prstTxWarp prst="textNoShape">
              <a:avLst/>
            </a:prstTxWarp>
          </a:bodyPr>
          <a:lstStyle>
            <a:lvl1pPr algn="r" defTabSz="979488" eaLnBrk="1" hangingPunct="1">
              <a:defRPr sz="1300"/>
            </a:lvl1pPr>
          </a:lstStyle>
          <a:p>
            <a:fld id="{15BEB683-096C-4622-B67B-946CA3D994B1}" type="slidenum">
              <a:rPr lang="en-US" altLang="fr-FR"/>
              <a:pPr/>
              <a:t>‹#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29257500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13063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92467" tIns="46233" rIns="92467" bIns="46233" numCol="1" anchor="t" anchorCtr="0" compatLnSpc="1">
            <a:prstTxWarp prst="textNoShape">
              <a:avLst/>
            </a:prstTxWarp>
          </a:bodyPr>
          <a:lstStyle>
            <a:lvl1pPr defTabSz="923925"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it-IT" altLang="fr-FR"/>
          </a:p>
        </p:txBody>
      </p:sp>
      <p:sp>
        <p:nvSpPr>
          <p:cNvPr id="1536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10000" y="0"/>
            <a:ext cx="2913063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92467" tIns="46233" rIns="92467" bIns="46233" numCol="1" anchor="t" anchorCtr="0" compatLnSpc="1">
            <a:prstTxWarp prst="textNoShape">
              <a:avLst/>
            </a:prstTxWarp>
          </a:bodyPr>
          <a:lstStyle>
            <a:lvl1pPr algn="r" defTabSz="923925"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it-IT" altLang="fr-FR"/>
          </a:p>
        </p:txBody>
      </p:sp>
      <p:sp>
        <p:nvSpPr>
          <p:cNvPr id="1536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95350" y="741363"/>
            <a:ext cx="4935538" cy="37020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536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3100" y="4689475"/>
            <a:ext cx="5380038" cy="4443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92467" tIns="46233" rIns="92467" bIns="4623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noProof="0" smtClean="0"/>
              <a:t>Textmasterformate durch Klicken bearbeiten</a:t>
            </a:r>
          </a:p>
          <a:p>
            <a:pPr lvl="1"/>
            <a:r>
              <a:rPr lang="de-CH" noProof="0" smtClean="0"/>
              <a:t>Zweite Ebene</a:t>
            </a:r>
          </a:p>
          <a:p>
            <a:pPr lvl="2"/>
            <a:r>
              <a:rPr lang="de-CH" noProof="0" smtClean="0"/>
              <a:t>Dritte Ebene</a:t>
            </a:r>
          </a:p>
          <a:p>
            <a:pPr lvl="3"/>
            <a:r>
              <a:rPr lang="de-CH" noProof="0" smtClean="0"/>
              <a:t>Vierte Ebene</a:t>
            </a:r>
          </a:p>
          <a:p>
            <a:pPr lvl="4"/>
            <a:r>
              <a:rPr lang="de-CH" noProof="0" smtClean="0"/>
              <a:t>Fünfte Ebene</a:t>
            </a:r>
          </a:p>
        </p:txBody>
      </p:sp>
      <p:sp>
        <p:nvSpPr>
          <p:cNvPr id="1536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77363"/>
            <a:ext cx="2913063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92467" tIns="46233" rIns="92467" bIns="46233" numCol="1" anchor="b" anchorCtr="0" compatLnSpc="1">
            <a:prstTxWarp prst="textNoShape">
              <a:avLst/>
            </a:prstTxWarp>
          </a:bodyPr>
          <a:lstStyle>
            <a:lvl1pPr defTabSz="923925"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it-IT" altLang="fr-FR"/>
          </a:p>
        </p:txBody>
      </p:sp>
      <p:sp>
        <p:nvSpPr>
          <p:cNvPr id="1536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10000" y="9377363"/>
            <a:ext cx="2913063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92467" tIns="46233" rIns="92467" bIns="46233" numCol="1" anchor="b" anchorCtr="0" compatLnSpc="1">
            <a:prstTxWarp prst="textNoShape">
              <a:avLst/>
            </a:prstTxWarp>
          </a:bodyPr>
          <a:lstStyle>
            <a:lvl1pPr algn="r" defTabSz="923925" eaLnBrk="1" hangingPunct="1">
              <a:defRPr sz="1200"/>
            </a:lvl1pPr>
          </a:lstStyle>
          <a:p>
            <a:fld id="{78381F42-BD60-4392-A312-7D977B086CE2}" type="slidenum">
              <a:rPr lang="de-CH" altLang="fr-FR"/>
              <a:pPr/>
              <a:t>‹#›</a:t>
            </a:fld>
            <a:endParaRPr lang="de-CH" altLang="fr-FR"/>
          </a:p>
        </p:txBody>
      </p:sp>
    </p:spTree>
    <p:extLst>
      <p:ext uri="{BB962C8B-B14F-4D97-AF65-F5344CB8AC3E}">
        <p14:creationId xmlns:p14="http://schemas.microsoft.com/office/powerpoint/2010/main" val="204820392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ＭＳ Ｐゴシック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ＭＳ Ｐゴシック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ＭＳ Ｐゴシック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ＭＳ Ｐゴシック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5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5.jpe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5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5.jpe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image" Target="../media/image5.jpe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jpe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5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6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</p:grpSp>
      <p:sp>
        <p:nvSpPr>
          <p:cNvPr id="7" name="Title 1"/>
          <p:cNvSpPr>
            <a:spLocks/>
          </p:cNvSpPr>
          <p:nvPr userDrawn="1"/>
        </p:nvSpPr>
        <p:spPr bwMode="gray">
          <a:xfrm>
            <a:off x="650875" y="6389688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r>
              <a:rPr lang="en-GB" altLang="fr-FR" sz="800" smtClean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altLang="fr-FR" sz="800" smtClean="0">
                <a:solidFill>
                  <a:srgbClr val="FFFFFF"/>
                </a:solidFill>
              </a:rPr>
            </a:br>
            <a:r>
              <a:rPr lang="en-GB" altLang="fr-FR" sz="800" smtClean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8" name="Picture 19" descr="Sidel_BM_no_bleed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Object 2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3783514877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1903672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053513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rgbClr val="E64B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4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7" name="Freeform 8"/>
            <p:cNvSpPr>
              <a:spLocks/>
            </p:cNvSpPr>
            <p:nvPr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9" name="Freeform 10"/>
            <p:cNvSpPr>
              <a:spLocks noEditPoints="1"/>
            </p:cNvSpPr>
            <p:nvPr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</p:grpSp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1791612007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4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5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</p:grpSp>
      <p:pic>
        <p:nvPicPr>
          <p:cNvPr id="6" name="Picture 19" descr="Sidel_BM_no_bleed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Object 2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7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/>
          </p:cNvSpPr>
          <p:nvPr userDrawn="1"/>
        </p:nvSpPr>
        <p:spPr bwMode="gray">
          <a:xfrm>
            <a:off x="6519863" y="6477000"/>
            <a:ext cx="922337" cy="15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>
              <a:defRPr/>
            </a:pPr>
            <a:r>
              <a:rPr lang="en-GB" altLang="fr-FR" sz="1000" b="1" smtClean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9" name="Title 1"/>
          <p:cNvSpPr>
            <a:spLocks/>
          </p:cNvSpPr>
          <p:nvPr userDrawn="1"/>
        </p:nvSpPr>
        <p:spPr bwMode="gray">
          <a:xfrm>
            <a:off x="650875" y="6389688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r>
              <a:rPr lang="en-GB" altLang="fr-FR" sz="800" smtClean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altLang="fr-FR" sz="800" smtClean="0">
                <a:solidFill>
                  <a:srgbClr val="FFFFFF"/>
                </a:solidFill>
              </a:rPr>
            </a:br>
            <a:r>
              <a:rPr lang="en-GB" altLang="fr-FR" sz="800" smtClean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1" smtClean="0"/>
              <a:t>Click to edit Master title style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4263894535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707344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4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5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</p:grpSp>
      <p:pic>
        <p:nvPicPr>
          <p:cNvPr id="6" name="Picture 19" descr="Sidel_BM_no_bleed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Object 2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9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/>
          </p:cNvSpPr>
          <p:nvPr userDrawn="1"/>
        </p:nvSpPr>
        <p:spPr bwMode="gray">
          <a:xfrm>
            <a:off x="6519863" y="6477000"/>
            <a:ext cx="922337" cy="15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>
              <a:defRPr/>
            </a:pPr>
            <a:r>
              <a:rPr lang="en-GB" altLang="fr-FR" sz="1000" b="1" smtClean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9" name="Title 1"/>
          <p:cNvSpPr>
            <a:spLocks/>
          </p:cNvSpPr>
          <p:nvPr userDrawn="1"/>
        </p:nvSpPr>
        <p:spPr bwMode="gray">
          <a:xfrm>
            <a:off x="650875" y="6389688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r>
              <a:rPr lang="en-GB" altLang="fr-FR" sz="800" smtClean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altLang="fr-FR" sz="800" smtClean="0">
                <a:solidFill>
                  <a:srgbClr val="FFFFFF"/>
                </a:solidFill>
              </a:rPr>
            </a:br>
            <a:r>
              <a:rPr lang="en-GB" altLang="fr-FR" sz="800" smtClean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1" smtClean="0"/>
              <a:t>Click to edit Master title style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3931737670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800" dirty="0">
                <a:solidFill>
                  <a:srgbClr val="FFFFFF"/>
                </a:solidFill>
                <a:latin typeface="Arial"/>
                <a:ea typeface="+mn-ea"/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  <a:latin typeface="Arial"/>
                <a:ea typeface="+mn-ea"/>
              </a:rPr>
            </a:br>
            <a:r>
              <a:rPr lang="en-GB" sz="800" dirty="0">
                <a:solidFill>
                  <a:srgbClr val="FFFFFF"/>
                </a:solidFill>
                <a:latin typeface="Arial"/>
                <a:ea typeface="+mn-ea"/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1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2018025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9718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27370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0760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0083388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4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29628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6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1" dirty="0" smtClean="0">
                <a:solidFill>
                  <a:srgbClr val="FFFFFF"/>
                </a:solidFill>
                <a:latin typeface="Arial"/>
                <a:ea typeface="+mn-ea"/>
              </a:rPr>
              <a:t>www.sidel.com</a:t>
            </a:r>
            <a:endParaRPr lang="en-GB" sz="1000" b="1" dirty="0">
              <a:solidFill>
                <a:srgbClr val="FFFFFF"/>
              </a:solidFill>
              <a:latin typeface="Arial"/>
              <a:ea typeface="+mn-ea"/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800" dirty="0">
                <a:solidFill>
                  <a:srgbClr val="FFFFFF"/>
                </a:solidFill>
                <a:latin typeface="Arial"/>
                <a:ea typeface="+mn-ea"/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  <a:latin typeface="Arial"/>
                <a:ea typeface="+mn-ea"/>
              </a:rPr>
            </a:br>
            <a:r>
              <a:rPr lang="en-GB" sz="800" dirty="0">
                <a:solidFill>
                  <a:srgbClr val="FFFFFF"/>
                </a:solidFill>
                <a:latin typeface="Arial"/>
                <a:ea typeface="+mn-ea"/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240389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757441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9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1" dirty="0" smtClean="0">
                <a:solidFill>
                  <a:srgbClr val="FFFFFF"/>
                </a:solidFill>
                <a:latin typeface="Arial"/>
                <a:ea typeface="+mn-ea"/>
              </a:rPr>
              <a:t>www.sidel.com</a:t>
            </a:r>
            <a:endParaRPr lang="en-GB" sz="1000" b="1" dirty="0">
              <a:solidFill>
                <a:srgbClr val="FFFFFF"/>
              </a:solidFill>
              <a:latin typeface="Arial"/>
              <a:ea typeface="+mn-ea"/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800" dirty="0">
                <a:solidFill>
                  <a:srgbClr val="FFFFFF"/>
                </a:solidFill>
                <a:latin typeface="Arial"/>
                <a:ea typeface="+mn-ea"/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  <a:latin typeface="Arial"/>
                <a:ea typeface="+mn-ea"/>
              </a:rPr>
            </a:br>
            <a:r>
              <a:rPr lang="en-GB" sz="800" dirty="0">
                <a:solidFill>
                  <a:srgbClr val="FFFFFF"/>
                </a:solidFill>
                <a:latin typeface="Arial"/>
                <a:ea typeface="+mn-ea"/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127882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5777833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9045605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rgbClr val="E64B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7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7" name="Freeform 8"/>
            <p:cNvSpPr>
              <a:spLocks/>
            </p:cNvSpPr>
            <p:nvPr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9" name="Freeform 10"/>
            <p:cNvSpPr>
              <a:spLocks noEditPoints="1"/>
            </p:cNvSpPr>
            <p:nvPr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</p:grpSp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3351944335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4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5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</p:grpSp>
      <p:pic>
        <p:nvPicPr>
          <p:cNvPr id="6" name="Picture 19" descr="Sidel_BM_no_bleed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Object 2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0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/>
          </p:cNvSpPr>
          <p:nvPr userDrawn="1"/>
        </p:nvSpPr>
        <p:spPr bwMode="gray">
          <a:xfrm>
            <a:off x="6519863" y="6477000"/>
            <a:ext cx="922337" cy="15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>
              <a:defRPr/>
            </a:pPr>
            <a:r>
              <a:rPr lang="en-GB" altLang="fr-FR" sz="1000" b="1" smtClean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9" name="Title 1"/>
          <p:cNvSpPr>
            <a:spLocks/>
          </p:cNvSpPr>
          <p:nvPr userDrawn="1"/>
        </p:nvSpPr>
        <p:spPr bwMode="gray">
          <a:xfrm>
            <a:off x="650875" y="6389688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r>
              <a:rPr lang="en-GB" altLang="fr-FR" sz="800" smtClean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altLang="fr-FR" sz="800" smtClean="0">
                <a:solidFill>
                  <a:srgbClr val="FFFFFF"/>
                </a:solidFill>
              </a:rPr>
            </a:br>
            <a:r>
              <a:rPr lang="en-GB" altLang="fr-FR" sz="800" smtClean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1" smtClean="0"/>
              <a:t>Click to edit Master title style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327674004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534911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5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6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</p:grpSp>
      <p:sp>
        <p:nvSpPr>
          <p:cNvPr id="7" name="Title 1"/>
          <p:cNvSpPr>
            <a:spLocks/>
          </p:cNvSpPr>
          <p:nvPr userDrawn="1"/>
        </p:nvSpPr>
        <p:spPr bwMode="gray">
          <a:xfrm>
            <a:off x="650875" y="6389688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r>
              <a:rPr lang="en-GB" altLang="fr-FR" sz="800" smtClean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altLang="fr-FR" sz="800" smtClean="0">
                <a:solidFill>
                  <a:srgbClr val="FFFFFF"/>
                </a:solidFill>
              </a:rPr>
            </a:br>
            <a:r>
              <a:rPr lang="en-GB" altLang="fr-FR" sz="800" smtClean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8" name="Picture 19" descr="Sidel_BM_no_bleed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Object 2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25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3899500795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73337374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4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oleObject" Target="../embeddings/oleObject5.bin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12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5.vml"/><Relationship Id="rId4" Type="http://schemas.openxmlformats.org/officeDocument/2006/relationships/slideLayout" Target="../slideLayouts/slideLayout11.xml"/><Relationship Id="rId9" Type="http://schemas.openxmlformats.org/officeDocument/2006/relationships/theme" Target="../theme/theme2.xml"/><Relationship Id="rId14" Type="http://schemas.openxmlformats.org/officeDocument/2006/relationships/image" Target="../media/image3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oleObject" Target="../embeddings/oleObject10.bin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tags" Target="../tags/tag10.xml"/><Relationship Id="rId5" Type="http://schemas.openxmlformats.org/officeDocument/2006/relationships/slideLayout" Target="../slideLayouts/slideLayout20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0.vml"/><Relationship Id="rId4" Type="http://schemas.openxmlformats.org/officeDocument/2006/relationships/slideLayout" Target="../slideLayouts/slideLayout19.xml"/><Relationship Id="rId9" Type="http://schemas.openxmlformats.org/officeDocument/2006/relationships/theme" Target="../theme/theme3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ct 1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6" name="think-cell Folie" r:id="rId11" imgW="360" imgH="360" progId="TCLayout.ActiveDocument.1">
                  <p:embed/>
                </p:oleObj>
              </mc:Choice>
              <mc:Fallback>
                <p:oleObj name="think-cell Folie" r:id="rId11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5" name="Picture 3" descr="Hintergrund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6" name="Image 66" descr="shadow-v2.png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7" name="Rectangle 6"/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3063" cy="93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noProof="1" smtClean="0"/>
              <a:t>Click to edit master title style</a:t>
            </a:r>
            <a:endParaRPr lang="en-GB" altLang="fr-FR" smtClean="0"/>
          </a:p>
        </p:txBody>
      </p:sp>
      <p:grpSp>
        <p:nvGrpSpPr>
          <p:cNvPr id="3078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3082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3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26357 w 501"/>
                <a:gd name="T1" fmla="*/ 23095 h 429"/>
                <a:gd name="T2" fmla="*/ 24867 w 501"/>
                <a:gd name="T3" fmla="*/ 21169 h 429"/>
                <a:gd name="T4" fmla="*/ 24316 w 501"/>
                <a:gd name="T5" fmla="*/ 20443 h 429"/>
                <a:gd name="T6" fmla="*/ 21143 w 501"/>
                <a:gd name="T7" fmla="*/ 18949 h 429"/>
                <a:gd name="T8" fmla="*/ 17034 w 501"/>
                <a:gd name="T9" fmla="*/ 23095 h 429"/>
                <a:gd name="T10" fmla="*/ 21143 w 501"/>
                <a:gd name="T11" fmla="*/ 27151 h 429"/>
                <a:gd name="T12" fmla="*/ 24316 w 501"/>
                <a:gd name="T13" fmla="*/ 25683 h 429"/>
                <a:gd name="T14" fmla="*/ 24867 w 501"/>
                <a:gd name="T15" fmla="*/ 24946 h 429"/>
                <a:gd name="T16" fmla="*/ 26357 w 501"/>
                <a:gd name="T17" fmla="*/ 23095 h 429"/>
                <a:gd name="T18" fmla="*/ 11903 w 501"/>
                <a:gd name="T19" fmla="*/ 23001 h 429"/>
                <a:gd name="T20" fmla="*/ 21143 w 501"/>
                <a:gd name="T21" fmla="*/ 13849 h 429"/>
                <a:gd name="T22" fmla="*/ 28201 w 501"/>
                <a:gd name="T23" fmla="*/ 17101 h 429"/>
                <a:gd name="T24" fmla="*/ 28253 w 501"/>
                <a:gd name="T25" fmla="*/ 17257 h 429"/>
                <a:gd name="T26" fmla="*/ 28413 w 501"/>
                <a:gd name="T27" fmla="*/ 17191 h 429"/>
                <a:gd name="T28" fmla="*/ 18338 w 501"/>
                <a:gd name="T29" fmla="*/ 0 h 429"/>
                <a:gd name="T30" fmla="*/ 0 w 501"/>
                <a:gd name="T31" fmla="*/ 31654 h 429"/>
                <a:gd name="T32" fmla="*/ 17903 w 501"/>
                <a:gd name="T33" fmla="*/ 31654 h 429"/>
                <a:gd name="T34" fmla="*/ 17998 w 501"/>
                <a:gd name="T35" fmla="*/ 31588 h 429"/>
                <a:gd name="T36" fmla="*/ 16142 w 501"/>
                <a:gd name="T37" fmla="*/ 30784 h 429"/>
                <a:gd name="T38" fmla="*/ 11903 w 501"/>
                <a:gd name="T39" fmla="*/ 23001 h 429"/>
                <a:gd name="T40" fmla="*/ 36404 w 501"/>
                <a:gd name="T41" fmla="*/ 31493 h 429"/>
                <a:gd name="T42" fmla="*/ 34508 w 501"/>
                <a:gd name="T43" fmla="*/ 30990 h 429"/>
                <a:gd name="T44" fmla="*/ 29712 w 501"/>
                <a:gd name="T45" fmla="*/ 27057 h 429"/>
                <a:gd name="T46" fmla="*/ 27884 w 501"/>
                <a:gd name="T47" fmla="*/ 29371 h 429"/>
                <a:gd name="T48" fmla="*/ 24437 w 501"/>
                <a:gd name="T49" fmla="*/ 31588 h 429"/>
                <a:gd name="T50" fmla="*/ 24437 w 501"/>
                <a:gd name="T51" fmla="*/ 31654 h 429"/>
                <a:gd name="T52" fmla="*/ 36772 w 501"/>
                <a:gd name="T53" fmla="*/ 31654 h 429"/>
                <a:gd name="T54" fmla="*/ 36772 w 501"/>
                <a:gd name="T55" fmla="*/ 31588 h 429"/>
                <a:gd name="T56" fmla="*/ 36404 w 501"/>
                <a:gd name="T57" fmla="*/ 31493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2601 w 937"/>
                <a:gd name="T1" fmla="*/ 9986 h 326"/>
                <a:gd name="T2" fmla="*/ 5739 w 937"/>
                <a:gd name="T3" fmla="*/ 6538 h 326"/>
                <a:gd name="T4" fmla="*/ 9196 w 937"/>
                <a:gd name="T5" fmla="*/ 3888 h 326"/>
                <a:gd name="T6" fmla="*/ 13679 w 937"/>
                <a:gd name="T7" fmla="*/ 7341 h 326"/>
                <a:gd name="T8" fmla="*/ 18643 w 937"/>
                <a:gd name="T9" fmla="*/ 7341 h 326"/>
                <a:gd name="T10" fmla="*/ 9418 w 937"/>
                <a:gd name="T11" fmla="*/ 0 h 326"/>
                <a:gd name="T12" fmla="*/ 872 w 937"/>
                <a:gd name="T13" fmla="*/ 6906 h 326"/>
                <a:gd name="T14" fmla="*/ 7665 w 937"/>
                <a:gd name="T15" fmla="*/ 13440 h 326"/>
                <a:gd name="T16" fmla="*/ 14499 w 937"/>
                <a:gd name="T17" fmla="*/ 17212 h 326"/>
                <a:gd name="T18" fmla="*/ 10000 w 937"/>
                <a:gd name="T19" fmla="*/ 20067 h 326"/>
                <a:gd name="T20" fmla="*/ 4919 w 937"/>
                <a:gd name="T21" fmla="*/ 15811 h 326"/>
                <a:gd name="T22" fmla="*/ 66 w 937"/>
                <a:gd name="T23" fmla="*/ 15811 h 326"/>
                <a:gd name="T24" fmla="*/ 9881 w 937"/>
                <a:gd name="T25" fmla="*/ 23967 h 326"/>
                <a:gd name="T26" fmla="*/ 19352 w 937"/>
                <a:gd name="T27" fmla="*/ 16614 h 326"/>
                <a:gd name="T28" fmla="*/ 12601 w 937"/>
                <a:gd name="T29" fmla="*/ 9986 h 326"/>
                <a:gd name="T30" fmla="*/ 39840 w 937"/>
                <a:gd name="T31" fmla="*/ 8909 h 326"/>
                <a:gd name="T32" fmla="*/ 39840 w 937"/>
                <a:gd name="T33" fmla="*/ 8909 h 326"/>
                <a:gd name="T34" fmla="*/ 34855 w 937"/>
                <a:gd name="T35" fmla="*/ 6377 h 326"/>
                <a:gd name="T36" fmla="*/ 27558 w 937"/>
                <a:gd name="T37" fmla="*/ 14996 h 326"/>
                <a:gd name="T38" fmla="*/ 34973 w 937"/>
                <a:gd name="T39" fmla="*/ 23905 h 326"/>
                <a:gd name="T40" fmla="*/ 39998 w 937"/>
                <a:gd name="T41" fmla="*/ 21321 h 326"/>
                <a:gd name="T42" fmla="*/ 40053 w 937"/>
                <a:gd name="T43" fmla="*/ 21321 h 326"/>
                <a:gd name="T44" fmla="*/ 40053 w 937"/>
                <a:gd name="T45" fmla="*/ 23442 h 326"/>
                <a:gd name="T46" fmla="*/ 44419 w 937"/>
                <a:gd name="T47" fmla="*/ 23442 h 326"/>
                <a:gd name="T48" fmla="*/ 44419 w 937"/>
                <a:gd name="T49" fmla="*/ 590 h 326"/>
                <a:gd name="T50" fmla="*/ 39840 w 937"/>
                <a:gd name="T51" fmla="*/ 590 h 326"/>
                <a:gd name="T52" fmla="*/ 39840 w 937"/>
                <a:gd name="T53" fmla="*/ 8909 h 326"/>
                <a:gd name="T54" fmla="*/ 36095 w 937"/>
                <a:gd name="T55" fmla="*/ 20452 h 326"/>
                <a:gd name="T56" fmla="*/ 32109 w 937"/>
                <a:gd name="T57" fmla="*/ 15152 h 326"/>
                <a:gd name="T58" fmla="*/ 36095 w 937"/>
                <a:gd name="T59" fmla="*/ 9868 h 326"/>
                <a:gd name="T60" fmla="*/ 39998 w 937"/>
                <a:gd name="T61" fmla="*/ 15062 h 326"/>
                <a:gd name="T62" fmla="*/ 36095 w 937"/>
                <a:gd name="T63" fmla="*/ 20452 h 326"/>
                <a:gd name="T64" fmla="*/ 54575 w 937"/>
                <a:gd name="T65" fmla="*/ 6377 h 326"/>
                <a:gd name="T66" fmla="*/ 46104 w 937"/>
                <a:gd name="T67" fmla="*/ 15152 h 326"/>
                <a:gd name="T68" fmla="*/ 54575 w 937"/>
                <a:gd name="T69" fmla="*/ 23905 h 326"/>
                <a:gd name="T70" fmla="*/ 62309 w 937"/>
                <a:gd name="T71" fmla="*/ 18305 h 326"/>
                <a:gd name="T72" fmla="*/ 58320 w 937"/>
                <a:gd name="T73" fmla="*/ 18305 h 326"/>
                <a:gd name="T74" fmla="*/ 54736 w 937"/>
                <a:gd name="T75" fmla="*/ 20452 h 326"/>
                <a:gd name="T76" fmla="*/ 50594 w 937"/>
                <a:gd name="T77" fmla="*/ 16246 h 326"/>
                <a:gd name="T78" fmla="*/ 62597 w 937"/>
                <a:gd name="T79" fmla="*/ 16246 h 326"/>
                <a:gd name="T80" fmla="*/ 54575 w 937"/>
                <a:gd name="T81" fmla="*/ 6377 h 326"/>
                <a:gd name="T82" fmla="*/ 50594 w 937"/>
                <a:gd name="T83" fmla="*/ 13390 h 326"/>
                <a:gd name="T84" fmla="*/ 54431 w 937"/>
                <a:gd name="T85" fmla="*/ 9868 h 326"/>
                <a:gd name="T86" fmla="*/ 58048 w 937"/>
                <a:gd name="T87" fmla="*/ 13390 h 326"/>
                <a:gd name="T88" fmla="*/ 50594 w 937"/>
                <a:gd name="T89" fmla="*/ 13390 h 326"/>
                <a:gd name="T90" fmla="*/ 64456 w 937"/>
                <a:gd name="T91" fmla="*/ 23442 h 326"/>
                <a:gd name="T92" fmla="*/ 69007 w 937"/>
                <a:gd name="T93" fmla="*/ 23442 h 326"/>
                <a:gd name="T94" fmla="*/ 69007 w 937"/>
                <a:gd name="T95" fmla="*/ 590 h 326"/>
                <a:gd name="T96" fmla="*/ 64456 w 937"/>
                <a:gd name="T97" fmla="*/ 590 h 326"/>
                <a:gd name="T98" fmla="*/ 64456 w 937"/>
                <a:gd name="T99" fmla="*/ 23442 h 326"/>
                <a:gd name="T100" fmla="*/ 21065 w 937"/>
                <a:gd name="T101" fmla="*/ 23442 h 326"/>
                <a:gd name="T102" fmla="*/ 25620 w 937"/>
                <a:gd name="T103" fmla="*/ 23442 h 326"/>
                <a:gd name="T104" fmla="*/ 25620 w 937"/>
                <a:gd name="T105" fmla="*/ 6850 h 326"/>
                <a:gd name="T106" fmla="*/ 21065 w 937"/>
                <a:gd name="T107" fmla="*/ 6850 h 326"/>
                <a:gd name="T108" fmla="*/ 21065 w 937"/>
                <a:gd name="T109" fmla="*/ 23442 h 326"/>
                <a:gd name="T110" fmla="*/ 21065 w 937"/>
                <a:gd name="T111" fmla="*/ 4325 h 326"/>
                <a:gd name="T112" fmla="*/ 25620 w 937"/>
                <a:gd name="T113" fmla="*/ 4325 h 326"/>
                <a:gd name="T114" fmla="*/ 25620 w 937"/>
                <a:gd name="T115" fmla="*/ 590 h 326"/>
                <a:gd name="T116" fmla="*/ 21065 w 937"/>
                <a:gd name="T117" fmla="*/ 590 h 326"/>
                <a:gd name="T118" fmla="*/ 21065 w 937"/>
                <a:gd name="T119" fmla="*/ 4325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3162" cy="13811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3 March 2017</a:t>
            </a:fld>
            <a:r>
              <a:rPr lang="en-GB" smtClean="0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463" y="6626225"/>
            <a:ext cx="449262" cy="13811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GB" altLang="en-US" sz="900">
                <a:solidFill>
                  <a:srgbClr val="7F7F7F"/>
                </a:solidFill>
              </a:rPr>
              <a:t>Page </a:t>
            </a:r>
            <a:fld id="{AB38B253-80D7-4A81-AEA1-E937B9E3335F}" type="slidenum">
              <a:rPr lang="en-GB" altLang="en-US" sz="900">
                <a:solidFill>
                  <a:srgbClr val="7F7F7F"/>
                </a:solidFill>
              </a:rPr>
              <a:pPr eaLnBrk="1" hangingPunct="1"/>
              <a:t>‹#›</a:t>
            </a:fld>
            <a:endParaRPr lang="en-GB" altLang="en-US" sz="900">
              <a:solidFill>
                <a:srgbClr val="7F7F7F"/>
              </a:solidFill>
            </a:endParaRPr>
          </a:p>
        </p:txBody>
      </p:sp>
      <p:sp>
        <p:nvSpPr>
          <p:cNvPr id="3081" name="Text Placeholder 3"/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7825" cy="476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fr-FR" smtClean="0"/>
              <a:t>Click to edit Master text styles</a:t>
            </a:r>
          </a:p>
          <a:p>
            <a:pPr lvl="1"/>
            <a:r>
              <a:rPr lang="en-GB" altLang="fr-FR" smtClean="0"/>
              <a:t>Second level</a:t>
            </a:r>
          </a:p>
          <a:p>
            <a:pPr lvl="2"/>
            <a:r>
              <a:rPr lang="en-GB" altLang="fr-FR" smtClean="0"/>
              <a:t>Third level</a:t>
            </a:r>
          </a:p>
          <a:p>
            <a:pPr lvl="3"/>
            <a:r>
              <a:rPr lang="en-GB" altLang="fr-FR" smtClean="0"/>
              <a:t>Fourth level</a:t>
            </a:r>
          </a:p>
          <a:p>
            <a:pPr lvl="4"/>
            <a:r>
              <a:rPr lang="en-GB" altLang="fr-FR" smtClean="0"/>
              <a:t>Fifth level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4359" r:id="rId1"/>
    <p:sldLayoutId id="2147484346" r:id="rId2"/>
    <p:sldLayoutId id="2147484347" r:id="rId3"/>
    <p:sldLayoutId id="2147484348" r:id="rId4"/>
    <p:sldLayoutId id="2147484360" r:id="rId5"/>
    <p:sldLayoutId id="2147484361" r:id="rId6"/>
    <p:sldLayoutId id="2147484349" r:id="rId7"/>
  </p:sldLayoutIdLst>
  <p:transition/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US" sz="3000" b="1" noProof="1" dirty="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algn="l" rtl="0" eaLnBrk="0" fontAlgn="base" hangingPunct="0">
        <a:spcBef>
          <a:spcPct val="20000"/>
        </a:spcBef>
        <a:spcAft>
          <a:spcPct val="0"/>
        </a:spcAft>
        <a:defRPr lang="en-US" sz="2000" noProof="1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0" fontAlgn="base" hangingPunct="0">
        <a:spcBef>
          <a:spcPts val="12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lang="en-US" noProof="1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0" fontAlgn="base" hangingPunct="0">
        <a:spcBef>
          <a:spcPct val="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lang="en-US" sz="1600" noProof="1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0" fontAlgn="base" hangingPunct="0">
        <a:spcBef>
          <a:spcPct val="0"/>
        </a:spcBef>
        <a:spcAft>
          <a:spcPct val="0"/>
        </a:spcAft>
        <a:buFont typeface="Wingdings" panose="05000000000000000000" pitchFamily="2" charset="2"/>
        <a:buChar char="§"/>
        <a:defRPr lang="en-US" sz="1600" noProof="1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0" fontAlgn="base" hangingPunct="0">
        <a:spcBef>
          <a:spcPct val="0"/>
        </a:spcBef>
        <a:spcAft>
          <a:spcPct val="0"/>
        </a:spcAft>
        <a:buFont typeface="Wingdings" panose="05000000000000000000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1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0" name="think-cell Folie" r:id="rId12" imgW="360" imgH="360" progId="TCLayout.ActiveDocument.1">
                  <p:embed/>
                </p:oleObj>
              </mc:Choice>
              <mc:Fallback>
                <p:oleObj name="think-cell Folie" r:id="rId12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99" name="Picture 3" descr="Hintergrund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0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1" name="Rectangle 6"/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3063" cy="93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noProof="1" smtClean="0"/>
              <a:t>Click to edit master title style</a:t>
            </a:r>
            <a:endParaRPr lang="en-GB" altLang="fr-FR" smtClean="0"/>
          </a:p>
        </p:txBody>
      </p:sp>
      <p:grpSp>
        <p:nvGrpSpPr>
          <p:cNvPr id="4102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4106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07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26357 w 501"/>
                <a:gd name="T1" fmla="*/ 23095 h 429"/>
                <a:gd name="T2" fmla="*/ 24867 w 501"/>
                <a:gd name="T3" fmla="*/ 21169 h 429"/>
                <a:gd name="T4" fmla="*/ 24316 w 501"/>
                <a:gd name="T5" fmla="*/ 20443 h 429"/>
                <a:gd name="T6" fmla="*/ 21143 w 501"/>
                <a:gd name="T7" fmla="*/ 18949 h 429"/>
                <a:gd name="T8" fmla="*/ 17034 w 501"/>
                <a:gd name="T9" fmla="*/ 23095 h 429"/>
                <a:gd name="T10" fmla="*/ 21143 w 501"/>
                <a:gd name="T11" fmla="*/ 27151 h 429"/>
                <a:gd name="T12" fmla="*/ 24316 w 501"/>
                <a:gd name="T13" fmla="*/ 25683 h 429"/>
                <a:gd name="T14" fmla="*/ 24867 w 501"/>
                <a:gd name="T15" fmla="*/ 24946 h 429"/>
                <a:gd name="T16" fmla="*/ 26357 w 501"/>
                <a:gd name="T17" fmla="*/ 23095 h 429"/>
                <a:gd name="T18" fmla="*/ 11903 w 501"/>
                <a:gd name="T19" fmla="*/ 23001 h 429"/>
                <a:gd name="T20" fmla="*/ 21143 w 501"/>
                <a:gd name="T21" fmla="*/ 13849 h 429"/>
                <a:gd name="T22" fmla="*/ 28201 w 501"/>
                <a:gd name="T23" fmla="*/ 17101 h 429"/>
                <a:gd name="T24" fmla="*/ 28253 w 501"/>
                <a:gd name="T25" fmla="*/ 17257 h 429"/>
                <a:gd name="T26" fmla="*/ 28413 w 501"/>
                <a:gd name="T27" fmla="*/ 17191 h 429"/>
                <a:gd name="T28" fmla="*/ 18338 w 501"/>
                <a:gd name="T29" fmla="*/ 0 h 429"/>
                <a:gd name="T30" fmla="*/ 0 w 501"/>
                <a:gd name="T31" fmla="*/ 31654 h 429"/>
                <a:gd name="T32" fmla="*/ 17903 w 501"/>
                <a:gd name="T33" fmla="*/ 31654 h 429"/>
                <a:gd name="T34" fmla="*/ 17998 w 501"/>
                <a:gd name="T35" fmla="*/ 31588 h 429"/>
                <a:gd name="T36" fmla="*/ 16142 w 501"/>
                <a:gd name="T37" fmla="*/ 30784 h 429"/>
                <a:gd name="T38" fmla="*/ 11903 w 501"/>
                <a:gd name="T39" fmla="*/ 23001 h 429"/>
                <a:gd name="T40" fmla="*/ 36404 w 501"/>
                <a:gd name="T41" fmla="*/ 31493 h 429"/>
                <a:gd name="T42" fmla="*/ 34508 w 501"/>
                <a:gd name="T43" fmla="*/ 30990 h 429"/>
                <a:gd name="T44" fmla="*/ 29712 w 501"/>
                <a:gd name="T45" fmla="*/ 27057 h 429"/>
                <a:gd name="T46" fmla="*/ 27884 w 501"/>
                <a:gd name="T47" fmla="*/ 29371 h 429"/>
                <a:gd name="T48" fmla="*/ 24437 w 501"/>
                <a:gd name="T49" fmla="*/ 31588 h 429"/>
                <a:gd name="T50" fmla="*/ 24437 w 501"/>
                <a:gd name="T51" fmla="*/ 31654 h 429"/>
                <a:gd name="T52" fmla="*/ 36772 w 501"/>
                <a:gd name="T53" fmla="*/ 31654 h 429"/>
                <a:gd name="T54" fmla="*/ 36772 w 501"/>
                <a:gd name="T55" fmla="*/ 31588 h 429"/>
                <a:gd name="T56" fmla="*/ 36404 w 501"/>
                <a:gd name="T57" fmla="*/ 31493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08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2601 w 937"/>
                <a:gd name="T1" fmla="*/ 9986 h 326"/>
                <a:gd name="T2" fmla="*/ 5739 w 937"/>
                <a:gd name="T3" fmla="*/ 6538 h 326"/>
                <a:gd name="T4" fmla="*/ 9196 w 937"/>
                <a:gd name="T5" fmla="*/ 3888 h 326"/>
                <a:gd name="T6" fmla="*/ 13679 w 937"/>
                <a:gd name="T7" fmla="*/ 7341 h 326"/>
                <a:gd name="T8" fmla="*/ 18643 w 937"/>
                <a:gd name="T9" fmla="*/ 7341 h 326"/>
                <a:gd name="T10" fmla="*/ 9418 w 937"/>
                <a:gd name="T11" fmla="*/ 0 h 326"/>
                <a:gd name="T12" fmla="*/ 872 w 937"/>
                <a:gd name="T13" fmla="*/ 6906 h 326"/>
                <a:gd name="T14" fmla="*/ 7665 w 937"/>
                <a:gd name="T15" fmla="*/ 13440 h 326"/>
                <a:gd name="T16" fmla="*/ 14499 w 937"/>
                <a:gd name="T17" fmla="*/ 17212 h 326"/>
                <a:gd name="T18" fmla="*/ 10000 w 937"/>
                <a:gd name="T19" fmla="*/ 20067 h 326"/>
                <a:gd name="T20" fmla="*/ 4919 w 937"/>
                <a:gd name="T21" fmla="*/ 15811 h 326"/>
                <a:gd name="T22" fmla="*/ 66 w 937"/>
                <a:gd name="T23" fmla="*/ 15811 h 326"/>
                <a:gd name="T24" fmla="*/ 9881 w 937"/>
                <a:gd name="T25" fmla="*/ 23967 h 326"/>
                <a:gd name="T26" fmla="*/ 19352 w 937"/>
                <a:gd name="T27" fmla="*/ 16614 h 326"/>
                <a:gd name="T28" fmla="*/ 12601 w 937"/>
                <a:gd name="T29" fmla="*/ 9986 h 326"/>
                <a:gd name="T30" fmla="*/ 39840 w 937"/>
                <a:gd name="T31" fmla="*/ 8909 h 326"/>
                <a:gd name="T32" fmla="*/ 39840 w 937"/>
                <a:gd name="T33" fmla="*/ 8909 h 326"/>
                <a:gd name="T34" fmla="*/ 34855 w 937"/>
                <a:gd name="T35" fmla="*/ 6377 h 326"/>
                <a:gd name="T36" fmla="*/ 27558 w 937"/>
                <a:gd name="T37" fmla="*/ 14996 h 326"/>
                <a:gd name="T38" fmla="*/ 34973 w 937"/>
                <a:gd name="T39" fmla="*/ 23905 h 326"/>
                <a:gd name="T40" fmla="*/ 39998 w 937"/>
                <a:gd name="T41" fmla="*/ 21321 h 326"/>
                <a:gd name="T42" fmla="*/ 40053 w 937"/>
                <a:gd name="T43" fmla="*/ 21321 h 326"/>
                <a:gd name="T44" fmla="*/ 40053 w 937"/>
                <a:gd name="T45" fmla="*/ 23442 h 326"/>
                <a:gd name="T46" fmla="*/ 44419 w 937"/>
                <a:gd name="T47" fmla="*/ 23442 h 326"/>
                <a:gd name="T48" fmla="*/ 44419 w 937"/>
                <a:gd name="T49" fmla="*/ 590 h 326"/>
                <a:gd name="T50" fmla="*/ 39840 w 937"/>
                <a:gd name="T51" fmla="*/ 590 h 326"/>
                <a:gd name="T52" fmla="*/ 39840 w 937"/>
                <a:gd name="T53" fmla="*/ 8909 h 326"/>
                <a:gd name="T54" fmla="*/ 36095 w 937"/>
                <a:gd name="T55" fmla="*/ 20452 h 326"/>
                <a:gd name="T56" fmla="*/ 32109 w 937"/>
                <a:gd name="T57" fmla="*/ 15152 h 326"/>
                <a:gd name="T58" fmla="*/ 36095 w 937"/>
                <a:gd name="T59" fmla="*/ 9868 h 326"/>
                <a:gd name="T60" fmla="*/ 39998 w 937"/>
                <a:gd name="T61" fmla="*/ 15062 h 326"/>
                <a:gd name="T62" fmla="*/ 36095 w 937"/>
                <a:gd name="T63" fmla="*/ 20452 h 326"/>
                <a:gd name="T64" fmla="*/ 54575 w 937"/>
                <a:gd name="T65" fmla="*/ 6377 h 326"/>
                <a:gd name="T66" fmla="*/ 46104 w 937"/>
                <a:gd name="T67" fmla="*/ 15152 h 326"/>
                <a:gd name="T68" fmla="*/ 54575 w 937"/>
                <a:gd name="T69" fmla="*/ 23905 h 326"/>
                <a:gd name="T70" fmla="*/ 62309 w 937"/>
                <a:gd name="T71" fmla="*/ 18305 h 326"/>
                <a:gd name="T72" fmla="*/ 58320 w 937"/>
                <a:gd name="T73" fmla="*/ 18305 h 326"/>
                <a:gd name="T74" fmla="*/ 54736 w 937"/>
                <a:gd name="T75" fmla="*/ 20452 h 326"/>
                <a:gd name="T76" fmla="*/ 50594 w 937"/>
                <a:gd name="T77" fmla="*/ 16246 h 326"/>
                <a:gd name="T78" fmla="*/ 62597 w 937"/>
                <a:gd name="T79" fmla="*/ 16246 h 326"/>
                <a:gd name="T80" fmla="*/ 54575 w 937"/>
                <a:gd name="T81" fmla="*/ 6377 h 326"/>
                <a:gd name="T82" fmla="*/ 50594 w 937"/>
                <a:gd name="T83" fmla="*/ 13390 h 326"/>
                <a:gd name="T84" fmla="*/ 54431 w 937"/>
                <a:gd name="T85" fmla="*/ 9868 h 326"/>
                <a:gd name="T86" fmla="*/ 58048 w 937"/>
                <a:gd name="T87" fmla="*/ 13390 h 326"/>
                <a:gd name="T88" fmla="*/ 50594 w 937"/>
                <a:gd name="T89" fmla="*/ 13390 h 326"/>
                <a:gd name="T90" fmla="*/ 64456 w 937"/>
                <a:gd name="T91" fmla="*/ 23442 h 326"/>
                <a:gd name="T92" fmla="*/ 69007 w 937"/>
                <a:gd name="T93" fmla="*/ 23442 h 326"/>
                <a:gd name="T94" fmla="*/ 69007 w 937"/>
                <a:gd name="T95" fmla="*/ 590 h 326"/>
                <a:gd name="T96" fmla="*/ 64456 w 937"/>
                <a:gd name="T97" fmla="*/ 590 h 326"/>
                <a:gd name="T98" fmla="*/ 64456 w 937"/>
                <a:gd name="T99" fmla="*/ 23442 h 326"/>
                <a:gd name="T100" fmla="*/ 21065 w 937"/>
                <a:gd name="T101" fmla="*/ 23442 h 326"/>
                <a:gd name="T102" fmla="*/ 25620 w 937"/>
                <a:gd name="T103" fmla="*/ 23442 h 326"/>
                <a:gd name="T104" fmla="*/ 25620 w 937"/>
                <a:gd name="T105" fmla="*/ 6850 h 326"/>
                <a:gd name="T106" fmla="*/ 21065 w 937"/>
                <a:gd name="T107" fmla="*/ 6850 h 326"/>
                <a:gd name="T108" fmla="*/ 21065 w 937"/>
                <a:gd name="T109" fmla="*/ 23442 h 326"/>
                <a:gd name="T110" fmla="*/ 21065 w 937"/>
                <a:gd name="T111" fmla="*/ 4325 h 326"/>
                <a:gd name="T112" fmla="*/ 25620 w 937"/>
                <a:gd name="T113" fmla="*/ 4325 h 326"/>
                <a:gd name="T114" fmla="*/ 25620 w 937"/>
                <a:gd name="T115" fmla="*/ 590 h 326"/>
                <a:gd name="T116" fmla="*/ 21065 w 937"/>
                <a:gd name="T117" fmla="*/ 590 h 326"/>
                <a:gd name="T118" fmla="*/ 21065 w 937"/>
                <a:gd name="T119" fmla="*/ 4325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3162" cy="13811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3 March 2017</a:t>
            </a:fld>
            <a:r>
              <a:rPr lang="en-GB" smtClean="0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463" y="6626225"/>
            <a:ext cx="449262" cy="13811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GB" altLang="en-US" sz="900">
                <a:solidFill>
                  <a:srgbClr val="7F7F7F"/>
                </a:solidFill>
              </a:rPr>
              <a:t>Page </a:t>
            </a:r>
            <a:fld id="{6D28167D-C387-4A0B-A18E-85607D270C1E}" type="slidenum">
              <a:rPr lang="en-GB" altLang="en-US" sz="900">
                <a:solidFill>
                  <a:srgbClr val="7F7F7F"/>
                </a:solidFill>
              </a:rPr>
              <a:pPr eaLnBrk="1" hangingPunct="1"/>
              <a:t>‹#›</a:t>
            </a:fld>
            <a:endParaRPr lang="en-GB" altLang="en-US" sz="900">
              <a:solidFill>
                <a:srgbClr val="7F7F7F"/>
              </a:solidFill>
            </a:endParaRPr>
          </a:p>
        </p:txBody>
      </p:sp>
      <p:sp>
        <p:nvSpPr>
          <p:cNvPr id="4105" name="Text Placeholder 3"/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7825" cy="476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fr-FR" smtClean="0"/>
              <a:t>Click to edit Master text styles</a:t>
            </a:r>
          </a:p>
          <a:p>
            <a:pPr lvl="1"/>
            <a:r>
              <a:rPr lang="en-GB" altLang="fr-FR" smtClean="0"/>
              <a:t>Second level</a:t>
            </a:r>
          </a:p>
          <a:p>
            <a:pPr lvl="2"/>
            <a:r>
              <a:rPr lang="en-GB" altLang="fr-FR" smtClean="0"/>
              <a:t>Third level</a:t>
            </a:r>
          </a:p>
          <a:p>
            <a:pPr lvl="3"/>
            <a:r>
              <a:rPr lang="en-GB" altLang="fr-FR" smtClean="0"/>
              <a:t>Fourth level</a:t>
            </a:r>
          </a:p>
          <a:p>
            <a:pPr lvl="4"/>
            <a:r>
              <a:rPr lang="en-GB" altLang="fr-FR" smtClean="0"/>
              <a:t>Fifth level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4362" r:id="rId1"/>
    <p:sldLayoutId id="2147484350" r:id="rId2"/>
    <p:sldLayoutId id="2147484351" r:id="rId3"/>
    <p:sldLayoutId id="2147484352" r:id="rId4"/>
    <p:sldLayoutId id="2147484363" r:id="rId5"/>
    <p:sldLayoutId id="2147484364" r:id="rId6"/>
    <p:sldLayoutId id="2147484353" r:id="rId7"/>
    <p:sldLayoutId id="2147484365" r:id="rId8"/>
  </p:sldLayoutIdLst>
  <p:transition/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US" sz="3000" b="1" noProof="1" dirty="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algn="l" rtl="0" eaLnBrk="0" fontAlgn="base" hangingPunct="0">
        <a:spcBef>
          <a:spcPct val="20000"/>
        </a:spcBef>
        <a:spcAft>
          <a:spcPct val="0"/>
        </a:spcAft>
        <a:defRPr lang="en-US" sz="2000" noProof="1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0" fontAlgn="base" hangingPunct="0">
        <a:spcBef>
          <a:spcPts val="12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lang="en-US" noProof="1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0" fontAlgn="base" hangingPunct="0">
        <a:spcBef>
          <a:spcPct val="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lang="en-US" sz="1600" noProof="1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0" fontAlgn="base" hangingPunct="0">
        <a:spcBef>
          <a:spcPct val="0"/>
        </a:spcBef>
        <a:spcAft>
          <a:spcPct val="0"/>
        </a:spcAft>
        <a:buFont typeface="Wingdings" panose="05000000000000000000" pitchFamily="2" charset="2"/>
        <a:buChar char="§"/>
        <a:defRPr lang="en-US" sz="1600" noProof="1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0" fontAlgn="base" hangingPunct="0">
        <a:spcBef>
          <a:spcPct val="0"/>
        </a:spcBef>
        <a:spcAft>
          <a:spcPct val="0"/>
        </a:spcAft>
        <a:buFont typeface="Wingdings" panose="05000000000000000000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4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03 March 2017</a:t>
            </a:fld>
            <a:r>
              <a:rPr lang="en-GB" smtClean="0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8357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367" r:id="rId1"/>
    <p:sldLayoutId id="2147484368" r:id="rId2"/>
    <p:sldLayoutId id="2147484369" r:id="rId3"/>
    <p:sldLayoutId id="2147484370" r:id="rId4"/>
    <p:sldLayoutId id="2147484371" r:id="rId5"/>
    <p:sldLayoutId id="2147484372" r:id="rId6"/>
    <p:sldLayoutId id="2147484373" r:id="rId7"/>
    <p:sldLayoutId id="2147484374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8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/>
          <p:cNvSpPr/>
          <p:nvPr/>
        </p:nvSpPr>
        <p:spPr>
          <a:xfrm>
            <a:off x="1147763" y="3367088"/>
            <a:ext cx="1152525" cy="576262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>
              <a:defRPr/>
            </a:pPr>
            <a:endParaRPr lang="fr-FR" altLang="en-US" smtClean="0">
              <a:solidFill>
                <a:srgbClr val="FFFFFF"/>
              </a:solidFill>
            </a:endParaRPr>
          </a:p>
        </p:txBody>
      </p:sp>
      <p:graphicFrame>
        <p:nvGraphicFramePr>
          <p:cNvPr id="30723" name="Objekt 2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0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892" name="Title 1"/>
          <p:cNvSpPr>
            <a:spLocks noGrp="1"/>
          </p:cNvSpPr>
          <p:nvPr>
            <p:ph type="title"/>
          </p:nvPr>
        </p:nvSpPr>
        <p:spPr>
          <a:xfrm>
            <a:off x="651530" y="303082"/>
            <a:ext cx="7993062" cy="936625"/>
          </a:xfrm>
        </p:spPr>
        <p:txBody>
          <a:bodyPr/>
          <a:lstStyle/>
          <a:p>
            <a:pPr>
              <a:defRPr/>
            </a:pPr>
            <a:r>
              <a:rPr lang="fr-FR" altLang="fr-FR" dirty="0" smtClean="0"/>
              <a:t>Améliorer le rendement de la machine et réduire les coûts de maintenance</a:t>
            </a:r>
            <a:endParaRPr lang="fr-FR" altLang="fr-FR" b="0" dirty="0" smtClean="0"/>
          </a:p>
        </p:txBody>
      </p:sp>
      <p:sp>
        <p:nvSpPr>
          <p:cNvPr id="3789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47700" y="1328738"/>
            <a:ext cx="7997825" cy="307975"/>
          </a:xfrm>
        </p:spPr>
        <p:txBody>
          <a:bodyPr/>
          <a:lstStyle/>
          <a:p>
            <a:pPr>
              <a:defRPr/>
            </a:pPr>
            <a:r>
              <a:rPr lang="en-GB" altLang="fr-FR" dirty="0" smtClean="0"/>
              <a:t>Nouveau </a:t>
            </a:r>
            <a:r>
              <a:rPr lang="en-GB" altLang="fr-FR" dirty="0" err="1" smtClean="0"/>
              <a:t>charriot</a:t>
            </a:r>
            <a:r>
              <a:rPr lang="en-GB" altLang="fr-FR" dirty="0" smtClean="0"/>
              <a:t> à </a:t>
            </a:r>
            <a:r>
              <a:rPr lang="en-GB" altLang="fr-FR" dirty="0" err="1" smtClean="0"/>
              <a:t>changement</a:t>
            </a:r>
            <a:r>
              <a:rPr lang="en-GB" altLang="fr-FR" dirty="0" smtClean="0"/>
              <a:t> </a:t>
            </a:r>
            <a:r>
              <a:rPr lang="en-GB" altLang="fr-FR" dirty="0" err="1" smtClean="0"/>
              <a:t>rapide</a:t>
            </a:r>
            <a:r>
              <a:rPr lang="en-GB" altLang="fr-FR" dirty="0" smtClean="0"/>
              <a:t>  </a:t>
            </a:r>
            <a:endParaRPr lang="fr-FR" altLang="fr-FR" dirty="0" smtClean="0"/>
          </a:p>
        </p:txBody>
      </p:sp>
      <p:sp>
        <p:nvSpPr>
          <p:cNvPr id="30726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buClr>
                <a:srgbClr val="E64B00"/>
              </a:buClr>
            </a:pPr>
            <a:endParaRPr lang="en-US" altLang="fr-FR" sz="1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25" name="Group 188"/>
          <p:cNvGraphicFramePr>
            <a:graphicFrameLocks noGrp="1"/>
          </p:cNvGraphicFramePr>
          <p:nvPr/>
        </p:nvGraphicFramePr>
        <p:xfrm>
          <a:off x="652463" y="1743075"/>
          <a:ext cx="7988300" cy="3808414"/>
        </p:xfrm>
        <a:graphic>
          <a:graphicData uri="http://schemas.openxmlformats.org/drawingml/2006/table">
            <a:tbl>
              <a:tblPr/>
              <a:tblGrid>
                <a:gridCol w="3870325"/>
                <a:gridCol w="244475"/>
                <a:gridCol w="3873500"/>
              </a:tblGrid>
              <a:tr h="387799">
                <a:tc>
                  <a:txBody>
                    <a:bodyPr/>
                    <a:lstStyle>
                      <a:lvl1pPr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1pPr>
                      <a:lvl2pPr marL="742950" indent="-285750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GB" altLang="fr-F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</a:rPr>
                        <a:t>VALEUR ET AVANTAGES</a:t>
                      </a:r>
                    </a:p>
                  </a:txBody>
                  <a:tcPr marL="108014" marR="108014" marT="71980" marB="71980"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>
                      <a:lvl1pPr marL="190500" indent="-190500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1pPr>
                      <a:lvl2pPr marL="742950" indent="-285750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108014" marR="108014" marT="71980" marB="71980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90500" indent="-190500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1pPr>
                      <a:lvl2pPr marL="742950" indent="-285750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de-DE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PTION</a:t>
                      </a:r>
                      <a:endParaRPr kumimoji="0" lang="fr-FR" altLang="de-D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108014" marR="108014" marT="71980" marB="7198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</a:tr>
              <a:tr h="3420614">
                <a:tc>
                  <a:txBody>
                    <a:bodyPr/>
                    <a:lstStyle>
                      <a:lvl1pPr marL="182563" indent="-182563">
                        <a:spcBef>
                          <a:spcPct val="45000"/>
                        </a:spcBef>
                        <a:buSzPct val="55000"/>
                        <a:tabLst>
                          <a:tab pos="2974975" algn="l"/>
                          <a:tab pos="3151188" algn="l"/>
                        </a:tabLs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1pPr>
                      <a:lvl2pPr marL="182563" indent="-182563">
                        <a:buSzPct val="55000"/>
                        <a:tabLst>
                          <a:tab pos="2974975" algn="l"/>
                          <a:tab pos="3151188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buSzPct val="50000"/>
                        <a:tabLst>
                          <a:tab pos="2974975" algn="l"/>
                          <a:tab pos="3151188" algn="l"/>
                        </a:tabLs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buSzPct val="40000"/>
                        <a:tabLst>
                          <a:tab pos="2974975" algn="l"/>
                          <a:tab pos="3151188" algn="l"/>
                        </a:tabLs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40000"/>
                        <a:tabLst>
                          <a:tab pos="2974975" algn="l"/>
                          <a:tab pos="3151188" algn="l"/>
                        </a:tabLs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tabLst>
                          <a:tab pos="2974975" algn="l"/>
                          <a:tab pos="3151188" algn="l"/>
                        </a:tabLs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tabLst>
                          <a:tab pos="2974975" algn="l"/>
                          <a:tab pos="3151188" algn="l"/>
                        </a:tabLs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tabLst>
                          <a:tab pos="2974975" algn="l"/>
                          <a:tab pos="3151188" algn="l"/>
                        </a:tabLs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tabLst>
                          <a:tab pos="2974975" algn="l"/>
                          <a:tab pos="3151188" algn="l"/>
                        </a:tabLs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64B00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</a:pPr>
                      <a:r>
                        <a:rPr kumimoji="0" lang="en-US" altLang="de-DE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Réduction de la durée et de la complexité de la maintenance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64B00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</a:pPr>
                      <a:r>
                        <a:rPr kumimoji="0" lang="en-US" altLang="fr-F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Temps </a:t>
                      </a:r>
                      <a:r>
                        <a:rPr kumimoji="0" lang="en-US" altLang="fr-FR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d'intervention</a:t>
                      </a:r>
                      <a:r>
                        <a:rPr kumimoji="0" lang="en-US" altLang="fr-F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plus </a:t>
                      </a:r>
                      <a:r>
                        <a:rPr kumimoji="0" lang="en-US" altLang="fr-FR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rapide</a:t>
                      </a:r>
                      <a:r>
                        <a:rPr kumimoji="0" lang="en-US" altLang="fr-F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altLang="fr-FR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en</a:t>
                      </a:r>
                      <a:r>
                        <a:rPr kumimoji="0" lang="en-US" altLang="fr-F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altLang="fr-FR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cas</a:t>
                      </a:r>
                      <a:r>
                        <a:rPr kumimoji="0" lang="en-US" altLang="fr-F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de </a:t>
                      </a:r>
                      <a:r>
                        <a:rPr kumimoji="0" lang="en-US" altLang="fr-FR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panne</a:t>
                      </a:r>
                      <a:endParaRPr kumimoji="0" lang="fr-FR" altLang="fr-F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34" charset="-128"/>
                      </a:endParaRP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64B00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</a:pPr>
                      <a:endParaRPr kumimoji="0" lang="fr-FR" altLang="fr-F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34" charset="-128"/>
                      </a:endParaRP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64B00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</a:pPr>
                      <a:endParaRPr kumimoji="0" lang="fr-FR" altLang="fr-F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34" charset="-128"/>
                      </a:endParaRP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64B00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</a:pPr>
                      <a:endParaRPr kumimoji="0" lang="fr-FR" altLang="fr-F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34" charset="-128"/>
                      </a:endParaRP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64B00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</a:pPr>
                      <a:endParaRPr kumimoji="0" lang="fr-FR" altLang="fr-F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34" charset="-128"/>
                      </a:endParaRPr>
                    </a:p>
                    <a:p>
                      <a:pPr marL="182563" marR="0" lvl="0" indent="-182563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</a:pPr>
                      <a:endParaRPr kumimoji="0" lang="fr-FR" altLang="fr-F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34" charset="-128"/>
                      </a:endParaRPr>
                    </a:p>
                  </a:txBody>
                  <a:tcPr marL="108014" marR="108014" marT="71980" marB="71980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25413" indent="-125413">
                        <a:spcBef>
                          <a:spcPct val="45000"/>
                        </a:spcBef>
                        <a:buSzPct val="55000"/>
                        <a:tabLst>
                          <a:tab pos="2974975" algn="l"/>
                          <a:tab pos="3151188" algn="l"/>
                        </a:tabLs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1pPr>
                      <a:lvl2pPr marL="742950" indent="-285750">
                        <a:buSzPct val="55000"/>
                        <a:tabLst>
                          <a:tab pos="2974975" algn="l"/>
                          <a:tab pos="3151188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buSzPct val="50000"/>
                        <a:tabLst>
                          <a:tab pos="2974975" algn="l"/>
                          <a:tab pos="3151188" algn="l"/>
                        </a:tabLs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buSzPct val="40000"/>
                        <a:tabLst>
                          <a:tab pos="2974975" algn="l"/>
                          <a:tab pos="3151188" algn="l"/>
                        </a:tabLs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40000"/>
                        <a:tabLst>
                          <a:tab pos="2974975" algn="l"/>
                          <a:tab pos="3151188" algn="l"/>
                        </a:tabLs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tabLst>
                          <a:tab pos="2974975" algn="l"/>
                          <a:tab pos="3151188" algn="l"/>
                        </a:tabLs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tabLst>
                          <a:tab pos="2974975" algn="l"/>
                          <a:tab pos="3151188" algn="l"/>
                        </a:tabLs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tabLst>
                          <a:tab pos="2974975" algn="l"/>
                          <a:tab pos="3151188" algn="l"/>
                        </a:tabLs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tabLst>
                          <a:tab pos="2974975" algn="l"/>
                          <a:tab pos="3151188" algn="l"/>
                        </a:tabLs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125413" marR="0" lvl="0" indent="-12541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</a:pPr>
                      <a:endParaRPr kumimoji="0" lang="en-US" altLang="de-DE" sz="14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108014" marR="108014" marT="71980" marB="71980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342900" indent="-342900">
                        <a:spcBef>
                          <a:spcPct val="45000"/>
                        </a:spcBef>
                        <a:buSzPct val="55000"/>
                        <a:tabLst>
                          <a:tab pos="2974975" algn="l"/>
                          <a:tab pos="3151188" algn="l"/>
                        </a:tabLs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1pPr>
                      <a:lvl2pPr marL="182563" indent="-182563">
                        <a:buSzPct val="55000"/>
                        <a:tabLst>
                          <a:tab pos="2974975" algn="l"/>
                          <a:tab pos="3151188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buSzPct val="50000"/>
                        <a:tabLst>
                          <a:tab pos="2974975" algn="l"/>
                          <a:tab pos="3151188" algn="l"/>
                        </a:tabLs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buSzPct val="40000"/>
                        <a:tabLst>
                          <a:tab pos="2974975" algn="l"/>
                          <a:tab pos="3151188" algn="l"/>
                        </a:tabLs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40000"/>
                        <a:tabLst>
                          <a:tab pos="2974975" algn="l"/>
                          <a:tab pos="3151188" algn="l"/>
                        </a:tabLs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tabLst>
                          <a:tab pos="2974975" algn="l"/>
                          <a:tab pos="3151188" algn="l"/>
                        </a:tabLs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tabLst>
                          <a:tab pos="2974975" algn="l"/>
                          <a:tab pos="3151188" algn="l"/>
                        </a:tabLs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tabLst>
                          <a:tab pos="2974975" algn="l"/>
                          <a:tab pos="3151188" algn="l"/>
                        </a:tabLs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tabLst>
                          <a:tab pos="2974975" algn="l"/>
                          <a:tab pos="3151188" algn="l"/>
                        </a:tabLs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64B00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</a:pPr>
                      <a:r>
                        <a:rPr kumimoji="0" lang="en-US" altLang="fr-F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Le nouveau charriot est équipé d'un système de changement rapide qui permet de substituer rapidement et facilement le rouleau. </a:t>
                      </a:r>
                    </a:p>
                  </a:txBody>
                  <a:tcPr marL="108014" marR="108014" marT="71980" marB="7198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0744" name="Text Placeholder 2"/>
          <p:cNvSpPr txBox="1">
            <a:spLocks/>
          </p:cNvSpPr>
          <p:nvPr/>
        </p:nvSpPr>
        <p:spPr bwMode="auto">
          <a:xfrm>
            <a:off x="652463" y="5774000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357188" indent="-174625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539750" indent="-182563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714375" indent="-174625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lang="en-GB" altLang="fr-FR" sz="800" dirty="0">
                <a:solidFill>
                  <a:srgbClr val="000000"/>
                </a:solidFill>
                <a:latin typeface="+mj-lt"/>
              </a:rPr>
              <a:t>Valeur : Optimisation des coûts</a:t>
            </a:r>
            <a:endParaRPr lang="fr-FR" sz="800" b="0" i="0" u="none" strike="noStrike" dirty="0" smtClean="0">
              <a:effectLst/>
              <a:latin typeface="+mj-lt"/>
            </a:endParaRPr>
          </a:p>
          <a:p>
            <a:pPr eaLnBrk="1" hangingPunct="1">
              <a:spcBef>
                <a:spcPct val="20000"/>
              </a:spcBef>
            </a:pPr>
            <a:r>
              <a:rPr lang="en-GB" altLang="fr-FR" sz="800" dirty="0" smtClean="0">
                <a:solidFill>
                  <a:srgbClr val="000000"/>
                </a:solidFill>
                <a:latin typeface="+mj-lt"/>
              </a:rPr>
              <a:t>Équipements : Remplisseuses Europa WM – RFE</a:t>
            </a:r>
          </a:p>
          <a:p>
            <a:pPr eaLnBrk="1" hangingPunct="1">
              <a:spcBef>
                <a:spcPct val="20000"/>
              </a:spcBef>
            </a:pPr>
            <a:r>
              <a:rPr lang="en-GB" altLang="fr-FR" sz="800" dirty="0">
                <a:solidFill>
                  <a:srgbClr val="000000"/>
                </a:solidFill>
                <a:latin typeface="+mj-lt"/>
              </a:rPr>
              <a:t>Code catalogue : SF034</a:t>
            </a:r>
          </a:p>
        </p:txBody>
      </p:sp>
      <p:sp>
        <p:nvSpPr>
          <p:cNvPr id="30745" name="AutoShape 8"/>
          <p:cNvSpPr>
            <a:spLocks noChangeArrowheads="1"/>
          </p:cNvSpPr>
          <p:nvPr/>
        </p:nvSpPr>
        <p:spPr bwMode="auto">
          <a:xfrm>
            <a:off x="5832475" y="3556000"/>
            <a:ext cx="1008063" cy="1573213"/>
          </a:xfrm>
          <a:prstGeom prst="roundRect">
            <a:avLst>
              <a:gd name="adj" fmla="val 16667"/>
            </a:avLst>
          </a:prstGeom>
          <a:solidFill>
            <a:schemeClr val="accent2">
              <a:alpha val="20000"/>
            </a:schemeClr>
          </a:solidFill>
          <a:ln w="19050">
            <a:solidFill>
              <a:schemeClr val="folHlink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endParaRPr lang="fr-FR" altLang="fr-FR"/>
          </a:p>
        </p:txBody>
      </p:sp>
      <p:cxnSp>
        <p:nvCxnSpPr>
          <p:cNvPr id="5" name="Straight Arrow Connector 4"/>
          <p:cNvCxnSpPr/>
          <p:nvPr/>
        </p:nvCxnSpPr>
        <p:spPr>
          <a:xfrm flipH="1">
            <a:off x="6875463" y="3776663"/>
            <a:ext cx="609600" cy="44450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747" name="Picture 15" descr="SF034 BIANCA NUOVA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288" y="2898775"/>
            <a:ext cx="863600" cy="2309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48" name="Picture 19" descr="SF034 FOCUS COLOUR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9338" y="3579813"/>
            <a:ext cx="2338387" cy="1525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10358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2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Tema di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Tema di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1</Words>
  <Application>Microsoft Office PowerPoint</Application>
  <PresentationFormat>On-screen Show (4:3)</PresentationFormat>
  <Paragraphs>1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ＭＳ Ｐゴシック</vt:lpstr>
      <vt:lpstr>Arial</vt:lpstr>
      <vt:lpstr>Wingdings</vt:lpstr>
      <vt:lpstr>Sidel Template 2013</vt:lpstr>
      <vt:lpstr>1_Sidel Template 2013</vt:lpstr>
      <vt:lpstr>2_Sidel Template 2013</vt:lpstr>
      <vt:lpstr>think-cell Folie</vt:lpstr>
      <vt:lpstr>Améliorer le rendement de la machine et réduire les coûts de maintenance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example 1  of a presentation title</dc:title>
  <dc:creator>Chiara.Ponzi</dc:creator>
  <cp:lastModifiedBy>Sorega, Dan</cp:lastModifiedBy>
  <cp:revision>599</cp:revision>
  <cp:lastPrinted>2013-07-17T15:06:32Z</cp:lastPrinted>
  <dcterms:created xsi:type="dcterms:W3CDTF">2011-09-23T10:16:12Z</dcterms:created>
  <dcterms:modified xsi:type="dcterms:W3CDTF">2017-03-03T12:53:28Z</dcterms:modified>
</cp:coreProperties>
</file>